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885" r:id="rId6"/>
  </p:sldMasterIdLst>
  <p:notesMasterIdLst>
    <p:notesMasterId r:id="rId19"/>
  </p:notesMasterIdLst>
  <p:handoutMasterIdLst>
    <p:handoutMasterId r:id="rId20"/>
  </p:handoutMasterIdLst>
  <p:sldIdLst>
    <p:sldId id="296" r:id="rId7"/>
    <p:sldId id="405" r:id="rId8"/>
    <p:sldId id="419" r:id="rId9"/>
    <p:sldId id="420" r:id="rId10"/>
    <p:sldId id="422" r:id="rId11"/>
    <p:sldId id="421" r:id="rId12"/>
    <p:sldId id="423" r:id="rId13"/>
    <p:sldId id="424" r:id="rId14"/>
    <p:sldId id="426" r:id="rId15"/>
    <p:sldId id="429" r:id="rId16"/>
    <p:sldId id="428" r:id="rId17"/>
    <p:sldId id="417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Overview" id="{4E249A1C-D928-4AC0-A77C-65440B7A141B}">
          <p14:sldIdLst>
            <p14:sldId id="296"/>
            <p14:sldId id="405"/>
            <p14:sldId id="419"/>
            <p14:sldId id="420"/>
            <p14:sldId id="422"/>
            <p14:sldId id="421"/>
            <p14:sldId id="423"/>
            <p14:sldId id="424"/>
            <p14:sldId id="426"/>
            <p14:sldId id="429"/>
            <p14:sldId id="428"/>
            <p14:sldId id="41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291" autoAdjust="0"/>
  </p:normalViewPr>
  <p:slideViewPr>
    <p:cSldViewPr>
      <p:cViewPr varScale="1">
        <p:scale>
          <a:sx n="70" d="100"/>
          <a:sy n="70" d="100"/>
        </p:scale>
        <p:origin x="536" y="6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5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5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20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580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125473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230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307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8265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962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s.sap.com/2018/04/10/content-transport-using-cts-cloud-integration-part-1/?preview_id=644115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blogs.sap.com/2018/04/23/getting-started-with-sap-transport-management-service-beta-for-sap-cloud-platform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Version and Transport management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angalore, Rajkumar</a:t>
            </a:r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  <p:transition spd="slow">
    <p:cover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79749" y="15240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/>
              <a:t>1d.  Manual Export</a:t>
            </a:r>
            <a:endParaRPr lang="en-IN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4326" y="1176900"/>
            <a:ext cx="11700000" cy="812099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>
                <a:solidFill>
                  <a:srgbClr val="002060"/>
                </a:solidFill>
                <a:latin typeface="Arial"/>
              </a:rPr>
              <a:t> Manual Exports allows us to export the integration package to your local file system in the form of a .zip file. 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>
                <a:solidFill>
                  <a:srgbClr val="002060"/>
                </a:solidFill>
                <a:latin typeface="Arial"/>
              </a:rPr>
              <a:t>You can import the same file in the target tenant using the Import optio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8000" y="2061000"/>
            <a:ext cx="114126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kern="0" dirty="0">
                <a:solidFill>
                  <a:srgbClr val="002060"/>
                </a:solidFill>
                <a:latin typeface="Arial"/>
              </a:rPr>
              <a:t>Procedure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integration package that you want to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hoose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.zip file is downloaded to the default browser download location on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Log in to the SAP Cloud Platform Integration web application to which you want to import the content. Choose 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hoose Im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new window opens in your file system explorer, allowing you to access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Navigate to the folder path where the .zip file was downloaded in step 3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file and choose Ope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You see a prompt indicating the successful import of the .zip file. You can see the imported integration package in the Design tab of your target tenant.</a:t>
            </a:r>
          </a:p>
        </p:txBody>
      </p:sp>
    </p:spTree>
    <p:extLst>
      <p:ext uri="{BB962C8B-B14F-4D97-AF65-F5344CB8AC3E}">
        <p14:creationId xmlns:p14="http://schemas.microsoft.com/office/powerpoint/2010/main" val="2210889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2.Version Management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394" y="893092"/>
            <a:ext cx="11240548" cy="648000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Versioning is the creation and management of multiple releases of a software/component, all of which have the same general function but are improved, upgraded or customized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2677" y="1541092"/>
            <a:ext cx="10152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SAP Cloud Platform Integration, new version is created when a component, which is already shipped and is being used by the customers needs to be improved or updated. 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New features are offered via the minor version updates and small fixes like label changes or UI alignments are offered via micro version updates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Each component in SAP Cloud Platform Integration has a version and this version is defined using the paradigm &lt;major&gt;.&lt;minor&gt;.&lt;micro&gt;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tails of the micro versions are not shown in the design time, as these changes doesn’t affect the scenario and are auto migrated after every software update.</a:t>
            </a:r>
          </a:p>
        </p:txBody>
      </p:sp>
      <p:pic>
        <p:nvPicPr>
          <p:cNvPr id="6" name="Picture 5" descr="https://blogs.sap.com/wp-content/uploads/2017/12/Versioning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00" y="4939703"/>
            <a:ext cx="2880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https://blogs.sap.com/wp-content/uploads/2017/12/Types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3388" y="4939703"/>
            <a:ext cx="2736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https://blogs.sap.com/wp-content/uploads/2017/12/ComponentVersion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777" y="3852583"/>
            <a:ext cx="3009900" cy="21742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6834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686257"/>
      </p:ext>
    </p:extLst>
  </p:cSld>
  <p:clrMapOvr>
    <a:masterClrMapping/>
  </p:clrMapOvr>
  <p:transition spd="slow">
    <p:cover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b="1" dirty="0">
                <a:latin typeface="+mn-lt"/>
                <a:ea typeface="+mn-ea"/>
                <a:cs typeface="+mn-cs"/>
              </a:rPr>
            </a:br>
            <a:r>
              <a:rPr lang="en-US" sz="3200" b="1" dirty="0">
                <a:latin typeface="+mn-lt"/>
                <a:ea typeface="+mn-ea"/>
                <a:cs typeface="+mn-cs"/>
              </a:rPr>
              <a:t>Table of Contents</a:t>
            </a:r>
            <a:endParaRPr lang="en-GB" sz="3200" b="1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99399" y="1504228"/>
            <a:ext cx="3812601" cy="555448"/>
          </a:xfrm>
        </p:spPr>
        <p:txBody>
          <a:bodyPr/>
          <a:lstStyle/>
          <a:p>
            <a:r>
              <a:rPr lang="en-US" dirty="0"/>
              <a:t>Transport Management Overview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899399" y="2148696"/>
            <a:ext cx="2804601" cy="555448"/>
          </a:xfrm>
        </p:spPr>
        <p:txBody>
          <a:bodyPr/>
          <a:lstStyle/>
          <a:p>
            <a:r>
              <a:rPr lang="en-US" dirty="0"/>
              <a:t>CTS+ Direct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899399" y="2854099"/>
            <a:ext cx="3708401" cy="555448"/>
          </a:xfrm>
        </p:spPr>
        <p:txBody>
          <a:bodyPr/>
          <a:lstStyle/>
          <a:p>
            <a:r>
              <a:rPr lang="en-IN" dirty="0"/>
              <a:t>MTAR Download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99399" y="3526939"/>
            <a:ext cx="3708401" cy="555448"/>
          </a:xfrm>
        </p:spPr>
        <p:txBody>
          <a:bodyPr/>
          <a:lstStyle/>
          <a:p>
            <a:r>
              <a:rPr lang="en-IN" dirty="0"/>
              <a:t>Transport Management Service</a:t>
            </a:r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9" y="4220799"/>
            <a:ext cx="3708401" cy="555448"/>
          </a:xfrm>
        </p:spPr>
        <p:txBody>
          <a:bodyPr/>
          <a:lstStyle/>
          <a:p>
            <a:r>
              <a:rPr lang="en-IN" dirty="0"/>
              <a:t>Manual Expor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087039" y="1465346"/>
            <a:ext cx="634560" cy="599554"/>
            <a:chOff x="6230532" y="1335315"/>
            <a:chExt cx="1204015" cy="1137596"/>
          </a:xfrm>
        </p:grpSpPr>
        <p:sp>
          <p:nvSpPr>
            <p:cNvPr id="48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49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087040" y="2148696"/>
            <a:ext cx="634560" cy="599554"/>
            <a:chOff x="6230534" y="1335315"/>
            <a:chExt cx="1204015" cy="1137595"/>
          </a:xfrm>
        </p:grpSpPr>
        <p:sp>
          <p:nvSpPr>
            <p:cNvPr id="51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2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a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087040" y="2832046"/>
            <a:ext cx="634560" cy="599554"/>
            <a:chOff x="6230534" y="1335315"/>
            <a:chExt cx="1204015" cy="1137595"/>
          </a:xfrm>
        </p:grpSpPr>
        <p:sp>
          <p:nvSpPr>
            <p:cNvPr id="54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5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b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087040" y="3515396"/>
            <a:ext cx="634560" cy="599554"/>
            <a:chOff x="6230534" y="1335315"/>
            <a:chExt cx="1204015" cy="1137595"/>
          </a:xfrm>
        </p:grpSpPr>
        <p:sp>
          <p:nvSpPr>
            <p:cNvPr id="57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58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c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2594B11-398B-4F44-BD01-75E581F8C550}"/>
              </a:ext>
            </a:extLst>
          </p:cNvPr>
          <p:cNvGrpSpPr/>
          <p:nvPr/>
        </p:nvGrpSpPr>
        <p:grpSpPr>
          <a:xfrm>
            <a:off x="7087040" y="4198746"/>
            <a:ext cx="634560" cy="599554"/>
            <a:chOff x="6230534" y="1335315"/>
            <a:chExt cx="1204015" cy="1137595"/>
          </a:xfrm>
        </p:grpSpPr>
        <p:sp>
          <p:nvSpPr>
            <p:cNvPr id="60" name="Oval 20">
              <a:extLst>
                <a:ext uri="{FF2B5EF4-FFF2-40B4-BE49-F238E27FC236}">
                  <a16:creationId xmlns:a16="http://schemas.microsoft.com/office/drawing/2014/main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1" name="Text Placeholder 14">
              <a:extLst>
                <a:ext uri="{FF2B5EF4-FFF2-40B4-BE49-F238E27FC236}">
                  <a16:creationId xmlns:a16="http://schemas.microsoft.com/office/drawing/2014/main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d</a:t>
              </a:r>
            </a:p>
          </p:txBody>
        </p:sp>
      </p:grpSp>
      <p:sp>
        <p:nvSpPr>
          <p:cNvPr id="62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8" y="4904149"/>
            <a:ext cx="3708401" cy="555448"/>
          </a:xfrm>
        </p:spPr>
        <p:txBody>
          <a:bodyPr/>
          <a:lstStyle/>
          <a:p>
            <a:r>
              <a:rPr lang="en-IN" dirty="0"/>
              <a:t>Version Management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2594B11-398B-4F44-BD01-75E581F8C550}"/>
              </a:ext>
            </a:extLst>
          </p:cNvPr>
          <p:cNvGrpSpPr/>
          <p:nvPr/>
        </p:nvGrpSpPr>
        <p:grpSpPr>
          <a:xfrm>
            <a:off x="7087039" y="4882096"/>
            <a:ext cx="634560" cy="599554"/>
            <a:chOff x="6230534" y="1335315"/>
            <a:chExt cx="1204015" cy="1137595"/>
          </a:xfrm>
        </p:grpSpPr>
        <p:sp>
          <p:nvSpPr>
            <p:cNvPr id="64" name="Oval 20">
              <a:extLst>
                <a:ext uri="{FF2B5EF4-FFF2-40B4-BE49-F238E27FC236}">
                  <a16:creationId xmlns:a16="http://schemas.microsoft.com/office/drawing/2014/main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5" name="Text Placeholder 14">
              <a:extLst>
                <a:ext uri="{FF2B5EF4-FFF2-40B4-BE49-F238E27FC236}">
                  <a16:creationId xmlns:a16="http://schemas.microsoft.com/office/drawing/2014/main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290920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build="p"/>
      <p:bldP spid="43" grpId="0" build="p"/>
      <p:bldP spid="44" grpId="0" build="p"/>
      <p:bldP spid="45" grpId="0" build="p"/>
      <p:bldP spid="46" grpId="0" build="p"/>
      <p:bldP spid="6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Transport Management Overview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C0A455-9DE7-45F0-8DEB-BB9FBDEA11CF}"/>
              </a:ext>
            </a:extLst>
          </p:cNvPr>
          <p:cNvSpPr/>
          <p:nvPr/>
        </p:nvSpPr>
        <p:spPr>
          <a:xfrm>
            <a:off x="713967" y="1433176"/>
            <a:ext cx="5598033" cy="283154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ontent Transport Management allows us to reuse content between multiple tenants by exporting it from one tenant and importing it on another. 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All these process has prerequisites. These setup the background configuration of Transport systems to the CPI system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User needs 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IntegrationContent.Transport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to Transport the components in CP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N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0194" y="693000"/>
            <a:ext cx="5507417" cy="361563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284" y="4308632"/>
            <a:ext cx="7098585" cy="181707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904000" y="4509000"/>
            <a:ext cx="1942185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kern="0" dirty="0">
                <a:solidFill>
                  <a:srgbClr val="00264A"/>
                </a:solidFill>
                <a:latin typeface="Arial"/>
              </a:rPr>
              <a:t>Dropdown list provides the Transport modes supported</a:t>
            </a:r>
          </a:p>
        </p:txBody>
      </p:sp>
      <p:sp>
        <p:nvSpPr>
          <p:cNvPr id="9" name="Right Arrow 8"/>
          <p:cNvSpPr/>
          <p:nvPr/>
        </p:nvSpPr>
        <p:spPr>
          <a:xfrm>
            <a:off x="8040000" y="4986868"/>
            <a:ext cx="648000" cy="230303"/>
          </a:xfrm>
          <a:prstGeom prst="rightArrow">
            <a:avLst/>
          </a:prstGeom>
          <a:solidFill>
            <a:srgbClr val="0070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7821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268999"/>
            <a:ext cx="11556652" cy="576001"/>
          </a:xfrm>
        </p:spPr>
        <p:txBody>
          <a:bodyPr/>
          <a:lstStyle/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This transport feature enables us to transport the integration package from the Dev/Test to the production landscape via Change and Transport System CTS+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2061000"/>
            <a:ext cx="11556652" cy="3744000"/>
          </a:xfrm>
        </p:spPr>
        <p:txBody>
          <a:bodyPr>
            <a:noAutofit/>
          </a:bodyPr>
          <a:lstStyle/>
          <a:p>
            <a:pPr marL="457200" lvl="1" indent="0" defTabSz="957756">
              <a:buNone/>
            </a:pPr>
            <a:r>
              <a:rPr lang="en-IN" b="1" kern="0" dirty="0">
                <a:solidFill>
                  <a:srgbClr val="00264A"/>
                </a:solidFill>
                <a:latin typeface="Arial"/>
              </a:rPr>
              <a:t>Settings to be done to enable CTS+ based transport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You should enable transport to CTS+. As a Tenant Admin you can do this by accessing Settings Option and choosing the tab Transport Settings. You would have to choose either ‘MTAR Download’ or ‘CTS+ Direct’ from the dropdown list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able the service, Solutions Lifecycle Management in your account. Ensure that you perform this step in all the accounts where you want to use content transport using CTS+. This is a one-time activity. You can do that by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Login to your account in the SAP Cloud Platform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Services Solutions Lifecycle Management  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Enable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reate a new HTTP destination by selecting Configure Destinations. Ensure that the Name of the destination is Cloud Integration (case-sensitive) and the URL is the URL of the tenant management node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  <a:hlinkClick r:id="rId2"/>
              </a:rPr>
              <a:t>https://blogs.sap.com/2018/04/10/content-transport-using-cts-cloud-integration-part-1/?preview_id=644115</a:t>
            </a:r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1308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1053000"/>
            <a:ext cx="11556652" cy="864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err="1">
                <a:solidFill>
                  <a:srgbClr val="002060"/>
                </a:solidFill>
                <a:latin typeface="Arial"/>
              </a:rPr>
              <a:t>CTS+Direct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would push MTAR content to an open Transport request in the configured CTS+ system maintained as a Destination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est/Source tenant, select the integration package that you want to transport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060400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lick on Transport.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550939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ransport Comments prompt, provide comments and click on Transport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3010461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ransport id will be displayed as shown abov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3717000"/>
            <a:ext cx="6957677" cy="228741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2000" y="4102175"/>
            <a:ext cx="4069425" cy="1517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170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504387" y="1279182"/>
            <a:ext cx="11556652" cy="4341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 defTabSz="957756"/>
            <a:r>
              <a:rPr lang="en-IN" kern="0">
                <a:solidFill>
                  <a:srgbClr val="002060"/>
                </a:solidFill>
                <a:latin typeface="Arial"/>
              </a:rPr>
              <a:t>Navigate to target system and select the transport ID request and click on Import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02142" y="1845000"/>
            <a:ext cx="11556652" cy="1380314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onfirm Import with Date: Immediate and Import Options as: Leave Transport Requests in Queue for Later Import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he Integration package is imported into the Production tenant Account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case of errors, you can check the logs by selecting the Import request and clicking on Logs button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000" y="3225720"/>
            <a:ext cx="9302371" cy="201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64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154964"/>
          </a:xfrm>
          <a:ln>
            <a:noFill/>
          </a:ln>
        </p:spPr>
        <p:txBody>
          <a:bodyPr>
            <a:normAutofit lnSpcReduction="10000"/>
          </a:bodyPr>
          <a:lstStyle/>
          <a:p>
            <a:pPr marL="457200" lvl="1" indent="0" defTabSz="957756">
              <a:buNone/>
            </a:pPr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Transport Mode has to be set to MTAR Download in Settings tab of CPI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In the Source/Test tenant, Select the integration package that you want to transport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Click on Transport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2205000"/>
            <a:ext cx="10584000" cy="1479927"/>
          </a:xfrm>
          <a:ln>
            <a:noFill/>
          </a:ln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A file with extension .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is downloaded to your local file system in the download path configured in your browser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sure that the Integration flows to be transported are not in Draft State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CTS+ is used to transport applications that are downloaded as MTAR files. Multiple MTA archives can be deployed to your subaccount in one run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000" y="3933000"/>
            <a:ext cx="6765517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873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442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b="1" kern="0" dirty="0">
                <a:solidFill>
                  <a:srgbClr val="002060"/>
                </a:solidFill>
                <a:latin typeface="Arial"/>
              </a:rPr>
              <a:t>Steps needed in CTS+ Configuration: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ransport Source and Target system has to be set in CTS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Login to the 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-&gt; Transport Organizer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lick on Create Request – a pop up will open with the below details. Enter a and click on Create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457200" lvl="1" indent="0" defTabSz="957756">
              <a:buNone/>
            </a:pPr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56000" y="2556404"/>
            <a:ext cx="51840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Object List tab, Click on Attach and browse for the .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file from your local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Application as “CPI – Multi Target Application” and click on “Add to List”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lick on Attach. The transport request will be updated. Click on Save Changes in the Object list tab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fter you have added one or more MTA archives in the request. Click on Release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Using CTS the released TR can be imported to the Target system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000" y="2571036"/>
            <a:ext cx="5792675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132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27349" y="117000"/>
            <a:ext cx="11125236" cy="9330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/>
              <a:t>1c.  Transport Management Servic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506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loud Platform Integration customers can transport Integration Packages across Tenants using Cloud Based Transport Management Service.</a:t>
            </a:r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8929" y="1629000"/>
            <a:ext cx="518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Cloud Platform Transport Management runs in SAP Cloud Platform Cloud Foundry Environment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 files can be transported in one of the following scenarios: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rectly from within another application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y are available on local file system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88929" y="3732325"/>
            <a:ext cx="4631071" cy="203132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teps needed can be referenced from the below link: </a:t>
            </a:r>
            <a:r>
              <a:rPr lang="en-IN" kern="0" dirty="0">
                <a:solidFill>
                  <a:srgbClr val="002060"/>
                </a:solidFill>
                <a:latin typeface="Arial"/>
                <a:hlinkClick r:id="rId2"/>
              </a:rPr>
              <a:t>https://blogs.sap.com/2018/04/23/getting-started-with-sap-transport-management-service-beta-for-sap-cloud-platform/</a:t>
            </a:r>
            <a:endParaRPr lang="en-IN" kern="0" dirty="0">
              <a:solidFill>
                <a:srgbClr val="002060"/>
              </a:solidFill>
              <a:latin typeface="Arial"/>
            </a:endParaRPr>
          </a:p>
          <a:p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7084" y="2133000"/>
            <a:ext cx="5942745" cy="2729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1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79D68279BD8848B2E6E25BDBF8C2D3" ma:contentTypeVersion="16" ma:contentTypeDescription="Create a new document." ma:contentTypeScope="" ma:versionID="077d0757f9e5a467e074d2d6e8e70bac">
  <xsd:schema xmlns:xsd="http://www.w3.org/2001/XMLSchema" xmlns:xs="http://www.w3.org/2001/XMLSchema" xmlns:p="http://schemas.microsoft.com/office/2006/metadata/properties" xmlns:ns2="892d93e1-f394-447a-89d4-a77303aa605e" xmlns:ns3="cd6156e9-227f-4c5d-869b-e260890bbe46" targetNamespace="http://schemas.microsoft.com/office/2006/metadata/properties" ma:root="true" ma:fieldsID="6b53187c3007cfed7db15853367b29c2" ns2:_="" ns3:_="">
    <xsd:import namespace="892d93e1-f394-447a-89d4-a77303aa605e"/>
    <xsd:import namespace="cd6156e9-227f-4c5d-869b-e260890bbe4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2d93e1-f394-447a-89d4-a77303aa605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0dc4df07-b85f-4eb6-bf17-4b81d0193c7a}" ma:internalName="TaxCatchAll" ma:showField="CatchAllData" ma:web="892d93e1-f394-447a-89d4-a77303aa605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6156e9-227f-4c5d-869b-e260890bbe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92d93e1-f394-447a-89d4-a77303aa605e">
      <UserInfo>
        <DisplayName/>
        <AccountId xsi:nil="true"/>
        <AccountType/>
      </UserInfo>
    </SharedWithUsers>
    <MediaLengthInSeconds xmlns="cd6156e9-227f-4c5d-869b-e260890bbe46" xsi:nil="true"/>
    <lcf76f155ced4ddcb4097134ff3c332f xmlns="cd6156e9-227f-4c5d-869b-e260890bbe46">
      <Terms xmlns="http://schemas.microsoft.com/office/infopath/2007/PartnerControls"/>
    </lcf76f155ced4ddcb4097134ff3c332f>
    <TaxCatchAll xmlns="892d93e1-f394-447a-89d4-a77303aa605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AA4C782-1FA0-4135-994D-82E3CBBABA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2d93e1-f394-447a-89d4-a77303aa605e"/>
    <ds:schemaRef ds:uri="cd6156e9-227f-4c5d-869b-e260890bbe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04b4b45-45c6-4ff8-ab7c-012ed1925f3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892d93e1-f394-447a-89d4-a77303aa605e"/>
    <ds:schemaRef ds:uri="cd6156e9-227f-4c5d-869b-e260890bbe46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86</TotalTime>
  <Words>1008</Words>
  <Application>Microsoft Office PowerPoint</Application>
  <PresentationFormat>Widescreen</PresentationFormat>
  <Paragraphs>86</Paragraphs>
  <Slides>1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Capgemini Master</vt:lpstr>
      <vt:lpstr>Cover options</vt:lpstr>
      <vt:lpstr>Title Slide</vt:lpstr>
      <vt:lpstr>PowerPoint Presentation</vt:lpstr>
      <vt:lpstr> Table of Contents</vt:lpstr>
      <vt:lpstr>1.Transport Management Overview</vt:lpstr>
      <vt:lpstr>1a.CTS+ Direct</vt:lpstr>
      <vt:lpstr>1a.CTS+ Direct</vt:lpstr>
      <vt:lpstr>1a.CTS+ Direct</vt:lpstr>
      <vt:lpstr>1b.  MTAR Download</vt:lpstr>
      <vt:lpstr>1b.  MTAR Download</vt:lpstr>
      <vt:lpstr>PowerPoint Presentation</vt:lpstr>
      <vt:lpstr>PowerPoint Presentation</vt:lpstr>
      <vt:lpstr>2.Version Management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34</cp:revision>
  <dcterms:created xsi:type="dcterms:W3CDTF">2019-06-24T10:07:26Z</dcterms:created>
  <dcterms:modified xsi:type="dcterms:W3CDTF">2024-08-15T11:1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79D68279BD8848B2E6E25BDBF8C2D3</vt:lpwstr>
  </property>
  <property fmtid="{D5CDD505-2E9C-101B-9397-08002B2CF9AE}" pid="3" name="Order">
    <vt:r8>186000</vt:r8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</Properties>
</file>